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6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056696973319466E-2"/>
          <c:y val="1.1937085078408027E-2"/>
          <c:w val="0.88833946458497326"/>
          <c:h val="0.8153803550313918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3A6-4FBA-BE18-021E1AEFD5A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3A6-4FBA-BE18-021E1AEFD5A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3A6-4FBA-BE18-021E1AEFD5A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3A6-4FBA-BE18-021E1AEFD5A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0B-4970-8914-088B67661D9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3A6-4FBA-BE18-021E1AEFD5A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A3A6-4FBA-BE18-021E1AEFD5A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A3A6-4FBA-BE18-021E1AEFD5A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A3A6-4FBA-BE18-021E1AEFD5A8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0B-4970-8914-088B67661D9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A3A6-4FBA-BE18-021E1AEFD5A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A3A6-4FBA-BE18-021E1AEFD5A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A3A6-4FBA-BE18-021E1AEFD5A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A3A6-4FBA-BE18-021E1AEFD5A8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0B-4970-8914-088B67661D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360843248"/>
        <c:axId val="360834128"/>
      </c:barChart>
      <c:valAx>
        <c:axId val="360834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0843248"/>
        <c:crosses val="autoZero"/>
        <c:crossBetween val="between"/>
      </c:valAx>
      <c:catAx>
        <c:axId val="36084324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083412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1193B4-571B-5C52-8136-71D4484B44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F16D4D6-2E2E-9237-BC1D-6965110CD3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16D4D6-2E2E-9237-BC1D-6965110CD3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Chart Placeholder 16">
            <a:extLst>
              <a:ext uri="{FF2B5EF4-FFF2-40B4-BE49-F238E27FC236}">
                <a16:creationId xmlns:a16="http://schemas.microsoft.com/office/drawing/2014/main" id="{1DDDB43C-AD94-92B4-BF6D-0FDD74A50FAE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11083925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114253FA-DD18-9ADF-6EB1-5B95D773A5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ustered Bar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723F38A-2FE2-204C-C57B-10DEECE7BB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0DB45912-0588-F28E-AA23-9FBE4BC89A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E7796768-77D4-49CE-B38A-58C5CC0B81E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09604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3</TotalTime>
  <Words>15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Clustered Bar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54</cp:revision>
  <dcterms:created xsi:type="dcterms:W3CDTF">2025-07-09T10:57:17Z</dcterms:created>
  <dcterms:modified xsi:type="dcterms:W3CDTF">2025-10-22T09:46:59Z</dcterms:modified>
  <cp:category/>
</cp:coreProperties>
</file>